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0D8BB9-BA45-4096-8BDB-9ADC929ACBF8}" v="57" dt="2023-03-06T00:50:32.3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2" d="100"/>
          <a:sy n="102" d="100"/>
        </p:scale>
        <p:origin x="138" y="67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80D8BB9-BA45-4096-8BDB-9ADC929ACBF8}"/>
    <pc:docChg chg="custSel addSld delSld modSld">
      <pc:chgData name="Roberto Gallardo" userId="49a044883f185952" providerId="LiveId" clId="{280D8BB9-BA45-4096-8BDB-9ADC929ACBF8}" dt="2023-03-06T00:50:32.358" v="222"/>
      <pc:docMkLst>
        <pc:docMk/>
      </pc:docMkLst>
      <pc:sldChg chg="del">
        <pc:chgData name="Roberto Gallardo" userId="49a044883f185952" providerId="LiveId" clId="{280D8BB9-BA45-4096-8BDB-9ADC929ACBF8}" dt="2023-02-25T14:57:02.268" v="4" actId="47"/>
        <pc:sldMkLst>
          <pc:docMk/>
          <pc:sldMk cId="1175010214" sldId="261"/>
        </pc:sldMkLst>
      </pc:sldChg>
      <pc:sldChg chg="addSp modSp mod">
        <pc:chgData name="Roberto Gallardo" userId="49a044883f185952" providerId="LiveId" clId="{280D8BB9-BA45-4096-8BDB-9ADC929ACBF8}" dt="2023-03-06T00:17:57.169" v="11" actId="1076"/>
        <pc:sldMkLst>
          <pc:docMk/>
          <pc:sldMk cId="1418533539" sldId="271"/>
        </pc:sldMkLst>
        <pc:picChg chg="add mod">
          <ac:chgData name="Roberto Gallardo" userId="49a044883f185952" providerId="LiveId" clId="{280D8BB9-BA45-4096-8BDB-9ADC929ACBF8}" dt="2023-03-06T00:17:57.169" v="11" actId="1076"/>
          <ac:picMkLst>
            <pc:docMk/>
            <pc:sldMk cId="1418533539" sldId="271"/>
            <ac:picMk id="6" creationId="{F0B01E54-47D5-CA04-1EC6-E443BD288349}"/>
          </ac:picMkLst>
        </pc:picChg>
      </pc:sldChg>
      <pc:sldChg chg="addSp modSp mod">
        <pc:chgData name="Roberto Gallardo" userId="49a044883f185952" providerId="LiveId" clId="{280D8BB9-BA45-4096-8BDB-9ADC929ACBF8}" dt="2023-03-06T00:31:34.928" v="93" actId="1076"/>
        <pc:sldMkLst>
          <pc:docMk/>
          <pc:sldMk cId="2124848710" sldId="281"/>
        </pc:sldMkLst>
        <pc:picChg chg="add mod">
          <ac:chgData name="Roberto Gallardo" userId="49a044883f185952" providerId="LiveId" clId="{280D8BB9-BA45-4096-8BDB-9ADC929ACBF8}" dt="2023-03-06T00:31:34.928" v="93" actId="1076"/>
          <ac:picMkLst>
            <pc:docMk/>
            <pc:sldMk cId="2124848710" sldId="281"/>
            <ac:picMk id="6" creationId="{E1567425-E408-AD90-ADF5-EE6C28BA3C3C}"/>
          </ac:picMkLst>
        </pc:picChg>
      </pc:sldChg>
      <pc:sldChg chg="addSp modSp mod">
        <pc:chgData name="Roberto Gallardo" userId="49a044883f185952" providerId="LiveId" clId="{280D8BB9-BA45-4096-8BDB-9ADC929ACBF8}" dt="2023-03-06T00:31:59.047" v="102" actId="1076"/>
        <pc:sldMkLst>
          <pc:docMk/>
          <pc:sldMk cId="2028175529" sldId="282"/>
        </pc:sldMkLst>
        <pc:picChg chg="add mod">
          <ac:chgData name="Roberto Gallardo" userId="49a044883f185952" providerId="LiveId" clId="{280D8BB9-BA45-4096-8BDB-9ADC929ACBF8}" dt="2023-03-06T00:31:59.047" v="102" actId="1076"/>
          <ac:picMkLst>
            <pc:docMk/>
            <pc:sldMk cId="2028175529" sldId="282"/>
            <ac:picMk id="7" creationId="{352693EA-9AA1-34EE-FAF6-5AD9137DBAE0}"/>
          </ac:picMkLst>
        </pc:picChg>
      </pc:sldChg>
      <pc:sldChg chg="addSp modSp mod">
        <pc:chgData name="Roberto Gallardo" userId="49a044883f185952" providerId="LiveId" clId="{280D8BB9-BA45-4096-8BDB-9ADC929ACBF8}" dt="2023-03-06T00:32:20.251" v="114" actId="1076"/>
        <pc:sldMkLst>
          <pc:docMk/>
          <pc:sldMk cId="1326517747" sldId="283"/>
        </pc:sldMkLst>
        <pc:picChg chg="add mod">
          <ac:chgData name="Roberto Gallardo" userId="49a044883f185952" providerId="LiveId" clId="{280D8BB9-BA45-4096-8BDB-9ADC929ACBF8}" dt="2023-03-06T00:32:20.251" v="114" actId="1076"/>
          <ac:picMkLst>
            <pc:docMk/>
            <pc:sldMk cId="1326517747" sldId="283"/>
            <ac:picMk id="7" creationId="{C90F4301-D610-9B48-92F0-B15CFBD40789}"/>
          </ac:picMkLst>
        </pc:picChg>
      </pc:sldChg>
      <pc:sldChg chg="addSp modSp mod">
        <pc:chgData name="Roberto Gallardo" userId="49a044883f185952" providerId="LiveId" clId="{280D8BB9-BA45-4096-8BDB-9ADC929ACBF8}" dt="2023-03-06T00:43:19.911" v="123" actId="1076"/>
        <pc:sldMkLst>
          <pc:docMk/>
          <pc:sldMk cId="783739251" sldId="284"/>
        </pc:sldMkLst>
        <pc:picChg chg="add mod">
          <ac:chgData name="Roberto Gallardo" userId="49a044883f185952" providerId="LiveId" clId="{280D8BB9-BA45-4096-8BDB-9ADC929ACBF8}" dt="2023-03-06T00:43:19.911" v="123" actId="1076"/>
          <ac:picMkLst>
            <pc:docMk/>
            <pc:sldMk cId="783739251" sldId="284"/>
            <ac:picMk id="7" creationId="{00D3E114-355D-EDFE-E613-4B4AC6CE9B1B}"/>
          </ac:picMkLst>
        </pc:picChg>
      </pc:sldChg>
      <pc:sldChg chg="addSp modSp mod">
        <pc:chgData name="Roberto Gallardo" userId="49a044883f185952" providerId="LiveId" clId="{280D8BB9-BA45-4096-8BDB-9ADC929ACBF8}" dt="2023-03-06T00:43:41.479" v="135" actId="1076"/>
        <pc:sldMkLst>
          <pc:docMk/>
          <pc:sldMk cId="1676122233" sldId="285"/>
        </pc:sldMkLst>
        <pc:picChg chg="add mod">
          <ac:chgData name="Roberto Gallardo" userId="49a044883f185952" providerId="LiveId" clId="{280D8BB9-BA45-4096-8BDB-9ADC929ACBF8}" dt="2023-03-06T00:43:41.479" v="135" actId="1076"/>
          <ac:picMkLst>
            <pc:docMk/>
            <pc:sldMk cId="1676122233" sldId="285"/>
            <ac:picMk id="7" creationId="{3FDBC12A-6C07-26F6-BB20-6435362F0602}"/>
          </ac:picMkLst>
        </pc:picChg>
      </pc:sldChg>
      <pc:sldChg chg="addSp modSp mod">
        <pc:chgData name="Roberto Gallardo" userId="49a044883f185952" providerId="LiveId" clId="{280D8BB9-BA45-4096-8BDB-9ADC929ACBF8}" dt="2023-03-06T00:43:57.310" v="144" actId="1076"/>
        <pc:sldMkLst>
          <pc:docMk/>
          <pc:sldMk cId="3100398757" sldId="286"/>
        </pc:sldMkLst>
        <pc:picChg chg="add mod">
          <ac:chgData name="Roberto Gallardo" userId="49a044883f185952" providerId="LiveId" clId="{280D8BB9-BA45-4096-8BDB-9ADC929ACBF8}" dt="2023-03-06T00:43:57.310" v="144" actId="1076"/>
          <ac:picMkLst>
            <pc:docMk/>
            <pc:sldMk cId="3100398757" sldId="286"/>
            <ac:picMk id="7" creationId="{FF7C116B-FECB-A0B9-973E-2B6FAD071166}"/>
          </ac:picMkLst>
        </pc:picChg>
      </pc:sldChg>
      <pc:sldChg chg="addSp modSp mod">
        <pc:chgData name="Roberto Gallardo" userId="49a044883f185952" providerId="LiveId" clId="{280D8BB9-BA45-4096-8BDB-9ADC929ACBF8}" dt="2023-03-06T00:44:26.870" v="156" actId="1076"/>
        <pc:sldMkLst>
          <pc:docMk/>
          <pc:sldMk cId="1546475425" sldId="287"/>
        </pc:sldMkLst>
        <pc:picChg chg="add mod">
          <ac:chgData name="Roberto Gallardo" userId="49a044883f185952" providerId="LiveId" clId="{280D8BB9-BA45-4096-8BDB-9ADC929ACBF8}" dt="2023-03-06T00:44:26.870" v="156" actId="1076"/>
          <ac:picMkLst>
            <pc:docMk/>
            <pc:sldMk cId="1546475425" sldId="287"/>
            <ac:picMk id="7" creationId="{7062B20B-7F5B-4401-95DE-4CA6EF735655}"/>
          </ac:picMkLst>
        </pc:picChg>
      </pc:sldChg>
      <pc:sldChg chg="addSp modSp mod">
        <pc:chgData name="Roberto Gallardo" userId="49a044883f185952" providerId="LiveId" clId="{280D8BB9-BA45-4096-8BDB-9ADC929ACBF8}" dt="2023-03-06T00:45:04.131" v="177" actId="1076"/>
        <pc:sldMkLst>
          <pc:docMk/>
          <pc:sldMk cId="1380517306" sldId="288"/>
        </pc:sldMkLst>
        <pc:picChg chg="add mod">
          <ac:chgData name="Roberto Gallardo" userId="49a044883f185952" providerId="LiveId" clId="{280D8BB9-BA45-4096-8BDB-9ADC929ACBF8}" dt="2023-03-06T00:45:04.131" v="177" actId="1076"/>
          <ac:picMkLst>
            <pc:docMk/>
            <pc:sldMk cId="1380517306" sldId="288"/>
            <ac:picMk id="7" creationId="{F3DB75B0-2F5B-2B67-6028-CC7120861B52}"/>
          </ac:picMkLst>
        </pc:picChg>
      </pc:sldChg>
      <pc:sldChg chg="addSp delSp modSp mod">
        <pc:chgData name="Roberto Gallardo" userId="49a044883f185952" providerId="LiveId" clId="{280D8BB9-BA45-4096-8BDB-9ADC929ACBF8}" dt="2023-03-06T00:50:10.050" v="218" actId="1076"/>
        <pc:sldMkLst>
          <pc:docMk/>
          <pc:sldMk cId="1388671151" sldId="289"/>
        </pc:sldMkLst>
        <pc:picChg chg="add mod">
          <ac:chgData name="Roberto Gallardo" userId="49a044883f185952" providerId="LiveId" clId="{280D8BB9-BA45-4096-8BDB-9ADC929ACBF8}" dt="2023-03-06T00:49:53.472" v="209"/>
          <ac:picMkLst>
            <pc:docMk/>
            <pc:sldMk cId="1388671151" sldId="289"/>
            <ac:picMk id="5" creationId="{06BBB746-3E6C-DC93-E81E-BFFD11971D08}"/>
          </ac:picMkLst>
        </pc:picChg>
        <pc:picChg chg="del">
          <ac:chgData name="Roberto Gallardo" userId="49a044883f185952" providerId="LiveId" clId="{280D8BB9-BA45-4096-8BDB-9ADC929ACBF8}" dt="2023-03-06T00:49:45.663" v="208" actId="478"/>
          <ac:picMkLst>
            <pc:docMk/>
            <pc:sldMk cId="1388671151" sldId="289"/>
            <ac:picMk id="6" creationId="{CDEBF572-B627-5EAF-D335-A10C4F0FE0E9}"/>
          </ac:picMkLst>
        </pc:picChg>
        <pc:picChg chg="add mod">
          <ac:chgData name="Roberto Gallardo" userId="49a044883f185952" providerId="LiveId" clId="{280D8BB9-BA45-4096-8BDB-9ADC929ACBF8}" dt="2023-03-06T00:50:10.050" v="218" actId="1076"/>
          <ac:picMkLst>
            <pc:docMk/>
            <pc:sldMk cId="1388671151" sldId="289"/>
            <ac:picMk id="8" creationId="{3A19F127-DFC2-8750-CA2C-47DB3310842E}"/>
          </ac:picMkLst>
        </pc:picChg>
      </pc:sldChg>
      <pc:sldChg chg="addSp delSp modSp mod">
        <pc:chgData name="Roberto Gallardo" userId="49a044883f185952" providerId="LiveId" clId="{280D8BB9-BA45-4096-8BDB-9ADC929ACBF8}" dt="2023-03-06T00:50:22.808" v="220"/>
        <pc:sldMkLst>
          <pc:docMk/>
          <pc:sldMk cId="2355376039" sldId="290"/>
        </pc:sldMkLst>
        <pc:picChg chg="del">
          <ac:chgData name="Roberto Gallardo" userId="49a044883f185952" providerId="LiveId" clId="{280D8BB9-BA45-4096-8BDB-9ADC929ACBF8}" dt="2023-03-06T00:50:15.816" v="219" actId="478"/>
          <ac:picMkLst>
            <pc:docMk/>
            <pc:sldMk cId="2355376039" sldId="290"/>
            <ac:picMk id="5" creationId="{BE374429-1D1B-59C8-94A9-0A30ECD3C823}"/>
          </ac:picMkLst>
        </pc:picChg>
        <pc:picChg chg="add mod">
          <ac:chgData name="Roberto Gallardo" userId="49a044883f185952" providerId="LiveId" clId="{280D8BB9-BA45-4096-8BDB-9ADC929ACBF8}" dt="2023-03-06T00:46:02.338" v="197" actId="1076"/>
          <ac:picMkLst>
            <pc:docMk/>
            <pc:sldMk cId="2355376039" sldId="290"/>
            <ac:picMk id="8" creationId="{50763AEE-7B65-DE1C-87BB-953F7E49A274}"/>
          </ac:picMkLst>
        </pc:picChg>
        <pc:picChg chg="add mod">
          <ac:chgData name="Roberto Gallardo" userId="49a044883f185952" providerId="LiveId" clId="{280D8BB9-BA45-4096-8BDB-9ADC929ACBF8}" dt="2023-03-06T00:50:22.808" v="220"/>
          <ac:picMkLst>
            <pc:docMk/>
            <pc:sldMk cId="2355376039" sldId="290"/>
            <ac:picMk id="9" creationId="{E10989CC-9427-4657-938C-EB1A2064134E}"/>
          </ac:picMkLst>
        </pc:picChg>
      </pc:sldChg>
      <pc:sldChg chg="addSp delSp modSp mod">
        <pc:chgData name="Roberto Gallardo" userId="49a044883f185952" providerId="LiveId" clId="{280D8BB9-BA45-4096-8BDB-9ADC929ACBF8}" dt="2023-03-06T00:50:32.358" v="222"/>
        <pc:sldMkLst>
          <pc:docMk/>
          <pc:sldMk cId="3757257295" sldId="291"/>
        </pc:sldMkLst>
        <pc:picChg chg="del">
          <ac:chgData name="Roberto Gallardo" userId="49a044883f185952" providerId="LiveId" clId="{280D8BB9-BA45-4096-8BDB-9ADC929ACBF8}" dt="2023-03-06T00:50:26.654" v="221" actId="478"/>
          <ac:picMkLst>
            <pc:docMk/>
            <pc:sldMk cId="3757257295" sldId="291"/>
            <ac:picMk id="7" creationId="{128FA9B9-3EBF-7C16-6027-86E52E102955}"/>
          </ac:picMkLst>
        </pc:picChg>
        <pc:picChg chg="add mod">
          <ac:chgData name="Roberto Gallardo" userId="49a044883f185952" providerId="LiveId" clId="{280D8BB9-BA45-4096-8BDB-9ADC929ACBF8}" dt="2023-03-06T00:46:24.627" v="207" actId="1076"/>
          <ac:picMkLst>
            <pc:docMk/>
            <pc:sldMk cId="3757257295" sldId="291"/>
            <ac:picMk id="8" creationId="{7BBDB4F2-7BF6-4B72-4899-4CD0EFB7A64A}"/>
          </ac:picMkLst>
        </pc:picChg>
        <pc:picChg chg="add mod">
          <ac:chgData name="Roberto Gallardo" userId="49a044883f185952" providerId="LiveId" clId="{280D8BB9-BA45-4096-8BDB-9ADC929ACBF8}" dt="2023-03-06T00:50:32.358" v="222"/>
          <ac:picMkLst>
            <pc:docMk/>
            <pc:sldMk cId="3757257295" sldId="291"/>
            <ac:picMk id="9" creationId="{ACC8D7F8-94B4-D899-4FDF-D1BA33FE56DB}"/>
          </ac:picMkLst>
        </pc:picChg>
      </pc:sldChg>
      <pc:sldChg chg="addSp modSp mod">
        <pc:chgData name="Roberto Gallardo" userId="49a044883f185952" providerId="LiveId" clId="{280D8BB9-BA45-4096-8BDB-9ADC929ACBF8}" dt="2023-03-06T00:44:43.622" v="166" actId="1076"/>
        <pc:sldMkLst>
          <pc:docMk/>
          <pc:sldMk cId="1259856727" sldId="292"/>
        </pc:sldMkLst>
        <pc:picChg chg="add mod">
          <ac:chgData name="Roberto Gallardo" userId="49a044883f185952" providerId="LiveId" clId="{280D8BB9-BA45-4096-8BDB-9ADC929ACBF8}" dt="2023-03-06T00:44:43.622" v="166" actId="1076"/>
          <ac:picMkLst>
            <pc:docMk/>
            <pc:sldMk cId="1259856727" sldId="292"/>
            <ac:picMk id="7" creationId="{54BAE704-03B4-872B-8944-FA9E3639F5EF}"/>
          </ac:picMkLst>
        </pc:picChg>
      </pc:sldChg>
      <pc:sldChg chg="addSp modSp mod">
        <pc:chgData name="Roberto Gallardo" userId="49a044883f185952" providerId="LiveId" clId="{280D8BB9-BA45-4096-8BDB-9ADC929ACBF8}" dt="2023-03-06T00:31:14.847" v="81" actId="1076"/>
        <pc:sldMkLst>
          <pc:docMk/>
          <pc:sldMk cId="3324519687" sldId="293"/>
        </pc:sldMkLst>
        <pc:picChg chg="add mod">
          <ac:chgData name="Roberto Gallardo" userId="49a044883f185952" providerId="LiveId" clId="{280D8BB9-BA45-4096-8BDB-9ADC929ACBF8}" dt="2023-03-06T00:31:14.847" v="81" actId="1076"/>
          <ac:picMkLst>
            <pc:docMk/>
            <pc:sldMk cId="3324519687" sldId="293"/>
            <ac:picMk id="7" creationId="{30C74CA8-E72E-5F44-110B-0D9B9140DEF7}"/>
          </ac:picMkLst>
        </pc:picChg>
      </pc:sldChg>
      <pc:sldChg chg="addSp modSp mod">
        <pc:chgData name="Roberto Gallardo" userId="49a044883f185952" providerId="LiveId" clId="{280D8BB9-BA45-4096-8BDB-9ADC929ACBF8}" dt="2023-03-06T00:30:16.955" v="45" actId="1076"/>
        <pc:sldMkLst>
          <pc:docMk/>
          <pc:sldMk cId="3256182630" sldId="295"/>
        </pc:sldMkLst>
        <pc:picChg chg="add mod">
          <ac:chgData name="Roberto Gallardo" userId="49a044883f185952" providerId="LiveId" clId="{280D8BB9-BA45-4096-8BDB-9ADC929ACBF8}" dt="2023-03-06T00:30:16.955" v="45" actId="1076"/>
          <ac:picMkLst>
            <pc:docMk/>
            <pc:sldMk cId="3256182630" sldId="295"/>
            <ac:picMk id="7" creationId="{59CBEACA-B921-64C9-217E-417513454532}"/>
          </ac:picMkLst>
        </pc:picChg>
      </pc:sldChg>
      <pc:sldChg chg="addSp modSp mod">
        <pc:chgData name="Roberto Gallardo" userId="49a044883f185952" providerId="LiveId" clId="{280D8BB9-BA45-4096-8BDB-9ADC929ACBF8}" dt="2023-03-06T00:30:52.804" v="71" actId="1038"/>
        <pc:sldMkLst>
          <pc:docMk/>
          <pc:sldMk cId="4057156843" sldId="296"/>
        </pc:sldMkLst>
        <pc:picChg chg="add mod">
          <ac:chgData name="Roberto Gallardo" userId="49a044883f185952" providerId="LiveId" clId="{280D8BB9-BA45-4096-8BDB-9ADC929ACBF8}" dt="2023-03-06T00:30:52.804" v="71" actId="1038"/>
          <ac:picMkLst>
            <pc:docMk/>
            <pc:sldMk cId="4057156843" sldId="296"/>
            <ac:picMk id="7" creationId="{72421A41-57E0-06DE-F65A-EA5E790C4D36}"/>
          </ac:picMkLst>
        </pc:picChg>
      </pc:sldChg>
      <pc:sldChg chg="addSp modSp mod">
        <pc:chgData name="Roberto Gallardo" userId="49a044883f185952" providerId="LiveId" clId="{280D8BB9-BA45-4096-8BDB-9ADC929ACBF8}" dt="2023-03-06T00:18:43.656" v="32" actId="1076"/>
        <pc:sldMkLst>
          <pc:docMk/>
          <pc:sldMk cId="2080110827" sldId="297"/>
        </pc:sldMkLst>
        <pc:picChg chg="add mod">
          <ac:chgData name="Roberto Gallardo" userId="49a044883f185952" providerId="LiveId" clId="{280D8BB9-BA45-4096-8BDB-9ADC929ACBF8}" dt="2023-03-06T00:18:43.656" v="32" actId="1076"/>
          <ac:picMkLst>
            <pc:docMk/>
            <pc:sldMk cId="2080110827" sldId="297"/>
            <ac:picMk id="6" creationId="{5279BADE-E734-370B-5A17-576BA5BF57C7}"/>
          </ac:picMkLst>
        </pc:picChg>
      </pc:sldChg>
      <pc:sldChg chg="addSp modSp mod">
        <pc:chgData name="Roberto Gallardo" userId="49a044883f185952" providerId="LiveId" clId="{280D8BB9-BA45-4096-8BDB-9ADC929ACBF8}" dt="2023-03-06T00:18:23.921" v="22" actId="1076"/>
        <pc:sldMkLst>
          <pc:docMk/>
          <pc:sldMk cId="1532666867" sldId="298"/>
        </pc:sldMkLst>
        <pc:picChg chg="add mod">
          <ac:chgData name="Roberto Gallardo" userId="49a044883f185952" providerId="LiveId" clId="{280D8BB9-BA45-4096-8BDB-9ADC929ACBF8}" dt="2023-03-06T00:18:23.921" v="22" actId="1076"/>
          <ac:picMkLst>
            <pc:docMk/>
            <pc:sldMk cId="1532666867" sldId="298"/>
            <ac:picMk id="6" creationId="{C64EAE11-EA95-62C1-36D7-D8B46E99BC0D}"/>
          </ac:picMkLst>
        </pc:picChg>
      </pc:sldChg>
      <pc:sldChg chg="addSp modSp mod">
        <pc:chgData name="Roberto Gallardo" userId="49a044883f185952" providerId="LiveId" clId="{280D8BB9-BA45-4096-8BDB-9ADC929ACBF8}" dt="2023-03-06T00:45:33.275" v="187" actId="1076"/>
        <pc:sldMkLst>
          <pc:docMk/>
          <pc:sldMk cId="1951376777" sldId="299"/>
        </pc:sldMkLst>
        <pc:picChg chg="add mod">
          <ac:chgData name="Roberto Gallardo" userId="49a044883f185952" providerId="LiveId" clId="{280D8BB9-BA45-4096-8BDB-9ADC929ACBF8}" dt="2023-03-06T00:45:33.275" v="187" actId="1076"/>
          <ac:picMkLst>
            <pc:docMk/>
            <pc:sldMk cId="1951376777" sldId="299"/>
            <ac:picMk id="7" creationId="{8F7247B6-11BF-272D-5BDB-B4544940804A}"/>
          </ac:picMkLst>
        </pc:picChg>
      </pc:sldChg>
      <pc:sldChg chg="modSp mod">
        <pc:chgData name="Roberto Gallardo" userId="49a044883f185952" providerId="LiveId" clId="{280D8BB9-BA45-4096-8BDB-9ADC929ACBF8}" dt="2023-02-25T13:24:55.144" v="2" actId="20577"/>
        <pc:sldMkLst>
          <pc:docMk/>
          <pc:sldMk cId="1515423683" sldId="302"/>
        </pc:sldMkLst>
        <pc:spChg chg="mod">
          <ac:chgData name="Roberto Gallardo" userId="49a044883f185952" providerId="LiveId" clId="{280D8BB9-BA45-4096-8BDB-9ADC929ACBF8}" dt="2023-02-25T13:24:55.144" v="2" actId="20577"/>
          <ac:spMkLst>
            <pc:docMk/>
            <pc:sldMk cId="1515423683" sldId="302"/>
            <ac:spMk id="5" creationId="{6AE302AC-8931-4144-BE52-DD1A8BA82462}"/>
          </ac:spMkLst>
        </pc:spChg>
        <pc:spChg chg="mod">
          <ac:chgData name="Roberto Gallardo" userId="49a044883f185952" providerId="LiveId" clId="{280D8BB9-BA45-4096-8BDB-9ADC929ACBF8}" dt="2023-02-25T13:24:52.415" v="1" actId="20577"/>
          <ac:spMkLst>
            <pc:docMk/>
            <pc:sldMk cId="1515423683" sldId="302"/>
            <ac:spMk id="9" creationId="{E362A98F-7DCD-C67C-23CE-1BE182A133B4}"/>
          </ac:spMkLst>
        </pc:spChg>
      </pc:sldChg>
      <pc:sldChg chg="del">
        <pc:chgData name="Roberto Gallardo" userId="49a044883f185952" providerId="LiveId" clId="{280D8BB9-BA45-4096-8BDB-9ADC929ACBF8}" dt="2023-02-25T14:57:02.268" v="4" actId="47"/>
        <pc:sldMkLst>
          <pc:docMk/>
          <pc:sldMk cId="2841628872" sldId="303"/>
        </pc:sldMkLst>
      </pc:sldChg>
      <pc:sldChg chg="del">
        <pc:chgData name="Roberto Gallardo" userId="49a044883f185952" providerId="LiveId" clId="{280D8BB9-BA45-4096-8BDB-9ADC929ACBF8}" dt="2023-02-25T14:57:02.268" v="4" actId="47"/>
        <pc:sldMkLst>
          <pc:docMk/>
          <pc:sldMk cId="3084076302" sldId="304"/>
        </pc:sldMkLst>
      </pc:sldChg>
      <pc:sldChg chg="del">
        <pc:chgData name="Roberto Gallardo" userId="49a044883f185952" providerId="LiveId" clId="{280D8BB9-BA45-4096-8BDB-9ADC929ACBF8}" dt="2023-02-25T14:57:02.268" v="4" actId="47"/>
        <pc:sldMkLst>
          <pc:docMk/>
          <pc:sldMk cId="473712435" sldId="305"/>
        </pc:sldMkLst>
      </pc:sldChg>
      <pc:sldChg chg="add">
        <pc:chgData name="Roberto Gallardo" userId="49a044883f185952" providerId="LiveId" clId="{280D8BB9-BA45-4096-8BDB-9ADC929ACBF8}" dt="2023-02-25T14:56:59.313" v="3"/>
        <pc:sldMkLst>
          <pc:docMk/>
          <pc:sldMk cId="2400826514" sldId="307"/>
        </pc:sldMkLst>
      </pc:sldChg>
      <pc:sldChg chg="add">
        <pc:chgData name="Roberto Gallardo" userId="49a044883f185952" providerId="LiveId" clId="{280D8BB9-BA45-4096-8BDB-9ADC929ACBF8}" dt="2023-02-25T14:56:59.313" v="3"/>
        <pc:sldMkLst>
          <pc:docMk/>
          <pc:sldMk cId="1861866408" sldId="308"/>
        </pc:sldMkLst>
      </pc:sldChg>
      <pc:sldChg chg="add">
        <pc:chgData name="Roberto Gallardo" userId="49a044883f185952" providerId="LiveId" clId="{280D8BB9-BA45-4096-8BDB-9ADC929ACBF8}" dt="2023-02-25T14:56:59.313" v="3"/>
        <pc:sldMkLst>
          <pc:docMk/>
          <pc:sldMk cId="2881767198" sldId="309"/>
        </pc:sldMkLst>
      </pc:sldChg>
      <pc:sldChg chg="add">
        <pc:chgData name="Roberto Gallardo" userId="49a044883f185952" providerId="LiveId" clId="{280D8BB9-BA45-4096-8BDB-9ADC929ACBF8}" dt="2023-02-25T14:56:59.313" v="3"/>
        <pc:sldMkLst>
          <pc:docMk/>
          <pc:sldMk cId="461495598"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a:solidFill>
                  <a:schemeClr val="bg1"/>
                </a:solidFill>
              </a:rPr>
              <a:t>Duplin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8FF030D-0F2A-A3BE-47B4-DA887AB28213}"/>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881767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71DBF456-AA4D-258B-5A0C-2A1A85531DEC}"/>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614955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0B01E54-47D5-CA04-1EC6-E443BD288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64EAE11-EA95-62C1-36D7-D8B46E99BC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279BADE-E734-370B-5A17-576BA5BF57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A69299F-390D-C27F-3174-20453A83E0DC}"/>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59CBEACA-B921-64C9-217E-4175134545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959" y="1415754"/>
            <a:ext cx="6398816" cy="452496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A96C8A6-7A43-A76D-E0A6-EE222BEB5FB2}"/>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72421A41-57E0-06DE-F65A-EA5E790C4D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227" y="1422675"/>
            <a:ext cx="6394548" cy="452195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C5CA2F2-6A22-6EF1-3C58-B7FC74DACB3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30C74CA8-E72E-5F44-110B-0D9B9140DE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76FB95B-7ABD-DA83-B804-F7483E39DE73}"/>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schematic&#10;&#10;Description automatically generated">
            <a:extLst>
              <a:ext uri="{FF2B5EF4-FFF2-40B4-BE49-F238E27FC236}">
                <a16:creationId xmlns:a16="http://schemas.microsoft.com/office/drawing/2014/main" id="{E1567425-E408-AD90-ADF5-EE6C28BA3C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947"/>
            <a:ext cx="6400015" cy="45258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51CB068A-B083-2AE1-A8D2-08BAF140EF9F}"/>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52693EA-9AA1-34EE-FAF6-5AD9137DBA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12B9C03-252B-2BB8-3C21-9D0546A9EE5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C90F4301-D610-9B48-92F0-B15CFBD407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7" y="1401632"/>
            <a:ext cx="6400799" cy="452637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5BC277F8-FA8A-CCB1-3766-C4B2917106D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00D3E114-355D-EDFE-E613-4B4AC6CE9B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626"/>
            <a:ext cx="6395966" cy="452295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D23B714-3999-3900-EB67-C63E61234EE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FDBC12A-6C07-26F6-BB20-6435362F06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0738F53-D5E9-7CF7-C095-5D6E79628647}"/>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F7C116B-FECB-A0B9-973E-2B6FAD0711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2EE170C3-9C0F-E828-4B80-8C07CBF46C2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7062B20B-7F5B-4401-95DE-4CA6EF7356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EF236EA2-81FF-0AF9-CC15-1028690BA102}"/>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54BAE704-03B4-872B-8944-FA9E3639F5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5152ABA-EB5B-5679-DF24-6D0DFD85B16A}"/>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3DB75B0-2F5B-2B67-6028-CC7120861B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6BBB746-3E6C-DC93-E81E-BFFD11971D08}"/>
              </a:ext>
            </a:extLst>
          </p:cNvPr>
          <p:cNvPicPr preferRelativeResize="0"/>
          <p:nvPr/>
        </p:nvPicPr>
        <p:blipFill>
          <a:blip r:embed="rId2"/>
          <a:stretch>
            <a:fillRect/>
          </a:stretch>
        </p:blipFill>
        <p:spPr>
          <a:xfrm>
            <a:off x="152400" y="1750485"/>
            <a:ext cx="5368611" cy="3850216"/>
          </a:xfrm>
          <a:prstGeom prst="rect">
            <a:avLst/>
          </a:prstGeom>
        </p:spPr>
      </p:pic>
      <p:pic>
        <p:nvPicPr>
          <p:cNvPr id="8" name="Picture 7" descr="Schematic&#10;&#10;Description automatically generated with medium confidence">
            <a:extLst>
              <a:ext uri="{FF2B5EF4-FFF2-40B4-BE49-F238E27FC236}">
                <a16:creationId xmlns:a16="http://schemas.microsoft.com/office/drawing/2014/main" id="{3A19F127-DFC2-8750-CA2C-47DB331084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7B6C02EF-FB6B-10A7-E253-24A414D33778}"/>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8F7247B6-11BF-272D-5BDB-B454494080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53"/>
            <a:ext cx="6389802" cy="4518594"/>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10;&#10;Description automatically generated">
            <a:extLst>
              <a:ext uri="{FF2B5EF4-FFF2-40B4-BE49-F238E27FC236}">
                <a16:creationId xmlns:a16="http://schemas.microsoft.com/office/drawing/2014/main" id="{50763AEE-7B65-DE1C-87BB-953F7E49A2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pic>
        <p:nvPicPr>
          <p:cNvPr id="9" name="Picture 8">
            <a:extLst>
              <a:ext uri="{FF2B5EF4-FFF2-40B4-BE49-F238E27FC236}">
                <a16:creationId xmlns:a16="http://schemas.microsoft.com/office/drawing/2014/main" id="{E10989CC-9427-4657-938C-EB1A2064134E}"/>
              </a:ext>
            </a:extLst>
          </p:cNvPr>
          <p:cNvPicPr preferRelativeResize="0"/>
          <p:nvPr/>
        </p:nvPicPr>
        <p:blipFill>
          <a:blip r:embed="rId3"/>
          <a:stretch>
            <a:fillRect/>
          </a:stretch>
        </p:blipFill>
        <p:spPr>
          <a:xfrm>
            <a:off x="152400" y="1749828"/>
            <a:ext cx="5390460" cy="38610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CAA9080A-B3F5-3E24-8447-3695878F7042}"/>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10;&#10;Description automatically generated with low confidence">
            <a:extLst>
              <a:ext uri="{FF2B5EF4-FFF2-40B4-BE49-F238E27FC236}">
                <a16:creationId xmlns:a16="http://schemas.microsoft.com/office/drawing/2014/main" id="{7BBDB4F2-7BF6-4B72-4899-4CD0EFB7A6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1" y="1408762"/>
            <a:ext cx="6400800" cy="4526372"/>
          </a:xfrm>
          <a:prstGeom prst="rect">
            <a:avLst/>
          </a:prstGeom>
        </p:spPr>
      </p:pic>
      <p:pic>
        <p:nvPicPr>
          <p:cNvPr id="9" name="Picture 8">
            <a:extLst>
              <a:ext uri="{FF2B5EF4-FFF2-40B4-BE49-F238E27FC236}">
                <a16:creationId xmlns:a16="http://schemas.microsoft.com/office/drawing/2014/main" id="{ACC8D7F8-94B4-D899-4FDF-D1BA33FE56DB}"/>
              </a:ext>
            </a:extLst>
          </p:cNvPr>
          <p:cNvPicPr preferRelativeResize="0"/>
          <p:nvPr/>
        </p:nvPicPr>
        <p:blipFill>
          <a:blip r:embed="rId3"/>
          <a:stretch>
            <a:fillRect/>
          </a:stretch>
        </p:blipFill>
        <p:spPr>
          <a:xfrm>
            <a:off x="152399" y="1762247"/>
            <a:ext cx="5332371" cy="381940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10D11D5-971A-39FC-6065-9FF9954BBD27}"/>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9753E86-39E2-7831-7F04-3F89D65F1185}"/>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12B048-56C7-7F8F-9ED2-9358E132F8E7}"/>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83649" y="2604909"/>
            <a:ext cx="1198148" cy="2120188"/>
            <a:chOff x="8052264" y="2525400"/>
            <a:chExt cx="1198148" cy="2120188"/>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525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525400"/>
              <a:ext cx="0" cy="6007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5352" y="2708918"/>
            <a:ext cx="1198148" cy="1871613"/>
            <a:chOff x="10485745" y="3009987"/>
            <a:chExt cx="1198148" cy="18716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6079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0099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009987"/>
              <a:ext cx="0" cy="5979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84819" y="4517884"/>
              <a:ext cx="0" cy="36371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52DE548-83EC-30F1-5342-40A286ADA7AE}"/>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AC74EF8-1C69-928F-B25F-DB4B85A41F14}"/>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15AB530-1422-4DAB-554E-99F089E34AC0}"/>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7AE0746-E7DC-97CC-8F98-6669ACC2ABE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F8B03724-DB05-1793-E339-90F520CF1CB6}"/>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A6D8F7BE-EEDF-4D2A-3AC5-A042D4033983}"/>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C331B21-B789-F161-3524-53D014E165A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400826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78B1DC0-04BC-0329-F4A5-E8B8B489FDA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861866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0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4</cp:revision>
  <dcterms:created xsi:type="dcterms:W3CDTF">2022-07-04T13:32:28Z</dcterms:created>
  <dcterms:modified xsi:type="dcterms:W3CDTF">2023-03-06T00:50:40Z</dcterms:modified>
</cp:coreProperties>
</file>